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4"/>
  </p:notesMasterIdLst>
  <p:sldIdLst>
    <p:sldId id="302" r:id="rId2"/>
    <p:sldId id="332" r:id="rId3"/>
    <p:sldId id="319" r:id="rId4"/>
    <p:sldId id="272" r:id="rId5"/>
    <p:sldId id="312" r:id="rId6"/>
    <p:sldId id="313" r:id="rId7"/>
    <p:sldId id="314" r:id="rId8"/>
    <p:sldId id="299" r:id="rId9"/>
    <p:sldId id="275" r:id="rId10"/>
    <p:sldId id="320" r:id="rId11"/>
    <p:sldId id="321" r:id="rId12"/>
    <p:sldId id="322" r:id="rId13"/>
    <p:sldId id="323" r:id="rId14"/>
    <p:sldId id="324" r:id="rId15"/>
    <p:sldId id="325" r:id="rId16"/>
    <p:sldId id="287" r:id="rId17"/>
    <p:sldId id="330" r:id="rId18"/>
    <p:sldId id="288" r:id="rId19"/>
    <p:sldId id="327" r:id="rId20"/>
    <p:sldId id="328" r:id="rId21"/>
    <p:sldId id="276" r:id="rId22"/>
    <p:sldId id="292" r:id="rId23"/>
    <p:sldId id="295" r:id="rId24"/>
    <p:sldId id="296" r:id="rId25"/>
    <p:sldId id="329" r:id="rId26"/>
    <p:sldId id="308" r:id="rId27"/>
    <p:sldId id="318" r:id="rId28"/>
    <p:sldId id="281" r:id="rId29"/>
    <p:sldId id="300" r:id="rId30"/>
    <p:sldId id="301" r:id="rId31"/>
    <p:sldId id="333" r:id="rId32"/>
    <p:sldId id="331" r:id="rId33"/>
  </p:sldIdLst>
  <p:sldSz cx="12192000" cy="6858000"/>
  <p:notesSz cx="7086600" cy="9372600"/>
  <p:custDataLst>
    <p:tags r:id="rId3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A7BDE9"/>
    <a:srgbClr val="3264C8"/>
    <a:srgbClr val="7F9FDF"/>
    <a:srgbClr val="FFFFFF"/>
    <a:srgbClr val="003399"/>
    <a:srgbClr val="0000FF"/>
    <a:srgbClr val="CCFFCC"/>
    <a:srgbClr val="DFE8F1"/>
    <a:srgbClr val="C8D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98" autoAdjust="0"/>
    <p:restoredTop sz="93073" autoAdjust="0"/>
  </p:normalViewPr>
  <p:slideViewPr>
    <p:cSldViewPr showGuides="1">
      <p:cViewPr varScale="1">
        <p:scale>
          <a:sx n="142" d="100"/>
          <a:sy n="142" d="100"/>
        </p:scale>
        <p:origin x="200" y="101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1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96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en.wikipedia.org/wiki/List_of_presidents_of_the_United_States" TargetMode="External"/><Relationship Id="rId4" Type="http://schemas.openxmlformats.org/officeDocument/2006/relationships/image" Target="../media/image15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slickcharts.com/sp500" TargetMode="External"/><Relationship Id="rId5" Type="http://schemas.openxmlformats.org/officeDocument/2006/relationships/hyperlink" Target="https://www.slickcharts.com/nasdaq100" TargetMode="External"/><Relationship Id="rId4" Type="http://schemas.openxmlformats.org/officeDocument/2006/relationships/image" Target="../media/image18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B2E38C3-424D-4A15-A6C8-43EC40B0D24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17465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0F2CF6-25F6-49AB-83BD-B3E93D11F7D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Heterogeneous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FD17F5-6F99-4707-B73D-5DAF7B7DB53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287685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the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quickly</a:t>
            </a:r>
            <a:r>
              <a:rPr lang="en-US" sz="1400" dirty="0"/>
              <a:t> to 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e natural</a:t>
            </a:r>
            <a:r>
              <a:rPr lang="en-US" sz="1400" dirty="0"/>
              <a:t> and less cryptic. Giver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Tables</a:t>
            </a:r>
            <a:r>
              <a:rPr lang="en-US" sz="1400" dirty="0"/>
              <a:t> of any size are one of the main data storage models and </a:t>
            </a:r>
            <a:r>
              <a:rPr lang="en-US" sz="1400" dirty="0" err="1"/>
              <a:t>B4P</a:t>
            </a:r>
            <a:r>
              <a:rPr lang="en-US" sz="1400" dirty="0"/>
              <a:t>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bureaucrac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igh focus on </a:t>
            </a:r>
            <a:r>
              <a:rPr lang="en-US" sz="1400" b="1" dirty="0">
                <a:solidFill>
                  <a:srgbClr val="003399"/>
                </a:solidFill>
              </a:rPr>
              <a:t>cross-platform portability </a:t>
            </a:r>
            <a:r>
              <a:rPr lang="en-US" sz="1400" dirty="0"/>
              <a:t>(Windows, Linux, MacOS, etc.), enabling to run the same code on different platfor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B4P output files for </a:t>
            </a:r>
            <a:r>
              <a:rPr lang="en-US" sz="1400" b="1" dirty="0">
                <a:solidFill>
                  <a:srgbClr val="003399"/>
                </a:solidFill>
              </a:rPr>
              <a:t>Excel 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with ca </a:t>
            </a:r>
            <a:r>
              <a:rPr lang="en-US" sz="1400" b="1" dirty="0">
                <a:solidFill>
                  <a:srgbClr val="003399"/>
                </a:solidFill>
              </a:rPr>
              <a:t>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47BB756-4772-4B2A-8D03-904834D48D7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language allows you to express yourself easily in plain English to solve the problem. 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053000"/>
            <a:ext cx="11196980" cy="4896544"/>
          </a:xfrm>
        </p:spPr>
        <p:txBody>
          <a:bodyPr>
            <a:normAutofit fontScale="92500" lnSpcReduction="1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479376" y="494100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"Think Big" when writing code – and do great things with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FD17F5-6F99-4707-B73D-5DAF7B7DB53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563976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2 Tables: Problem Stat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340999"/>
            <a:ext cx="3887999" cy="151371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981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01" y="3141032"/>
            <a:ext cx="2664000" cy="1944201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480000" y="5157000"/>
            <a:ext cx="1123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after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contain different acronyms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80000" y="2853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2951" y="1269000"/>
            <a:ext cx="4189049" cy="3854953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535584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2" name="Group 23">
            <a:extLst>
              <a:ext uri="{FF2B5EF4-FFF2-40B4-BE49-F238E27FC236}">
                <a16:creationId xmlns:a16="http://schemas.microsoft.com/office/drawing/2014/main" id="{F85FC763-1FBF-4093-B225-D79F6B9C25B9}"/>
              </a:ext>
            </a:extLst>
          </p:cNvPr>
          <p:cNvGrpSpPr/>
          <p:nvPr/>
        </p:nvGrpSpPr>
        <p:grpSpPr>
          <a:xfrm>
            <a:off x="4872000" y="2349000"/>
            <a:ext cx="1974449" cy="1202399"/>
            <a:chOff x="4625551" y="2005520"/>
            <a:chExt cx="1974449" cy="1202399"/>
          </a:xfrm>
        </p:grpSpPr>
        <p:grpSp>
          <p:nvGrpSpPr>
            <p:cNvPr id="23" name="Gruppieren 8">
              <a:extLst>
                <a:ext uri="{FF2B5EF4-FFF2-40B4-BE49-F238E27FC236}">
                  <a16:creationId xmlns:a16="http://schemas.microsoft.com/office/drawing/2014/main" id="{7E7518FD-2037-4177-8A1B-2672B250FEFD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0" name="B4P">
                <a:extLst>
                  <a:ext uri="{FF2B5EF4-FFF2-40B4-BE49-F238E27FC236}">
                    <a16:creationId xmlns:a16="http://schemas.microsoft.com/office/drawing/2014/main" id="{C7CDC852-DED3-4E07-A896-6A52F9858254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1" name="Triangle">
                <a:extLst>
                  <a:ext uri="{FF2B5EF4-FFF2-40B4-BE49-F238E27FC236}">
                    <a16:creationId xmlns:a16="http://schemas.microsoft.com/office/drawing/2014/main" id="{263946F8-732A-42EF-B1ED-1DD30373223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4" name="Gruppieren 20">
              <a:extLst>
                <a:ext uri="{FF2B5EF4-FFF2-40B4-BE49-F238E27FC236}">
                  <a16:creationId xmlns:a16="http://schemas.microsoft.com/office/drawing/2014/main" id="{1CB3CAFA-3ED1-4FBC-8C86-0847DEF50AD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7" name="Rechteck: abgerundete Ecken 14">
                <a:extLst>
                  <a:ext uri="{FF2B5EF4-FFF2-40B4-BE49-F238E27FC236}">
                    <a16:creationId xmlns:a16="http://schemas.microsoft.com/office/drawing/2014/main" id="{6813E270-1208-48E6-BB2F-17F6236B1029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B4P">
                <a:extLst>
                  <a:ext uri="{FF2B5EF4-FFF2-40B4-BE49-F238E27FC236}">
                    <a16:creationId xmlns:a16="http://schemas.microsoft.com/office/drawing/2014/main" id="{82628F3A-6863-48A1-8375-17D016BFDA9D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9" name="Triangle">
                <a:extLst>
                  <a:ext uri="{FF2B5EF4-FFF2-40B4-BE49-F238E27FC236}">
                    <a16:creationId xmlns:a16="http://schemas.microsoft.com/office/drawing/2014/main" id="{B26EC17E-5703-4D61-9C43-C8FD3CE3AEC0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5" name="Right Arrow 26">
              <a:extLst>
                <a:ext uri="{FF2B5EF4-FFF2-40B4-BE49-F238E27FC236}">
                  <a16:creationId xmlns:a16="http://schemas.microsoft.com/office/drawing/2014/main" id="{E6F73B7B-F7C1-4292-B82E-C1187251FC43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ight Arrow 27">
              <a:extLst>
                <a:ext uri="{FF2B5EF4-FFF2-40B4-BE49-F238E27FC236}">
                  <a16:creationId xmlns:a16="http://schemas.microsoft.com/office/drawing/2014/main" id="{397EF856-B881-405F-B43F-838C56034E2E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7BB8C5F-F81C-445A-B5D9-A777EC45A9B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314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56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1989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716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9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21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78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 Integration and Analytics Engine Overview</a:t>
            </a:r>
            <a:endParaRPr lang="de-CH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406076" y="2228648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579857" y="3307979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454137" y="2216641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04000" y="1341000"/>
            <a:ext cx="223473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t>Multiple complex 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247477" y="1341000"/>
            <a:ext cx="205524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475739" y="1341000"/>
            <a:ext cx="223473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sz="1500"/>
              <a:t>B4P</a:t>
            </a:r>
            <a:r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3940515" y="5715176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4948515" y="5909698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Database exports (Salesforce, Oracle, SAP,  </a:t>
            </a:r>
            <a:r>
              <a:rPr lang="en-US" sz="1000" dirty="0" err="1"/>
              <a:t>Filemaker</a:t>
            </a:r>
            <a:r>
              <a:rPr sz="1000" dirty="0"/>
              <a:t>,</a:t>
            </a:r>
            <a:r>
              <a:rPr lang="en-US" sz="1000" dirty="0"/>
              <a:t> et al</a:t>
            </a:r>
            <a:r>
              <a:rPr sz="1000" dirty="0"/>
              <a:t>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4948515" y="6104218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4948515" y="6298740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107359" y="4454858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147942" y="4498831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3656008" y="2303704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3656008" y="3280398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820811" y="2286707"/>
            <a:ext cx="1828396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366608" y="2566604"/>
            <a:ext cx="2633112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022119" y="3400185"/>
            <a:ext cx="924383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056753" y="2417224"/>
            <a:ext cx="843410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055098" y="3905879"/>
            <a:ext cx="85842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5775276" y="4922491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464009" y="4933377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processing</a:t>
            </a:r>
          </a:p>
        </p:txBody>
      </p:sp>
      <p:grpSp>
        <p:nvGrpSpPr>
          <p:cNvPr id="140" name="Group">
            <a:extLst>
              <a:ext uri="{FF2B5EF4-FFF2-40B4-BE49-F238E27FC236}">
                <a16:creationId xmlns:a16="http://schemas.microsoft.com/office/drawing/2014/main" id="{689E4E69-8CE2-E140-B49A-E219F0D8F976}"/>
              </a:ext>
            </a:extLst>
          </p:cNvPr>
          <p:cNvGrpSpPr/>
          <p:nvPr/>
        </p:nvGrpSpPr>
        <p:grpSpPr>
          <a:xfrm>
            <a:off x="3372405" y="2377068"/>
            <a:ext cx="288496" cy="329374"/>
            <a:chOff x="0" y="0"/>
            <a:chExt cx="288494" cy="329373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0" y="0"/>
              <a:ext cx="175088" cy="256650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52341" y="36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113406" y="72723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4732086" y="4464488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5" name="World">
            <a:extLst>
              <a:ext uri="{FF2B5EF4-FFF2-40B4-BE49-F238E27FC236}">
                <a16:creationId xmlns:a16="http://schemas.microsoft.com/office/drawing/2014/main" id="{2B91FD41-34B0-E148-87B0-2A3E0556F0B8}"/>
              </a:ext>
            </a:extLst>
          </p:cNvPr>
          <p:cNvSpPr/>
          <p:nvPr/>
        </p:nvSpPr>
        <p:spPr>
          <a:xfrm>
            <a:off x="3380638" y="3900397"/>
            <a:ext cx="272029" cy="2720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6350">
            <a:solidFill>
              <a:srgbClr val="535353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4999676" y="3948452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260440" y="3950352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196259" y="4537650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197800" y="4716930"/>
            <a:ext cx="294846" cy="214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grpSp>
        <p:nvGrpSpPr>
          <p:cNvPr id="150" name="Group">
            <a:extLst>
              <a:ext uri="{FF2B5EF4-FFF2-40B4-BE49-F238E27FC236}">
                <a16:creationId xmlns:a16="http://schemas.microsoft.com/office/drawing/2014/main" id="{77466A44-5922-E845-B31A-1C664363E0EE}"/>
              </a:ext>
            </a:extLst>
          </p:cNvPr>
          <p:cNvGrpSpPr/>
          <p:nvPr/>
        </p:nvGrpSpPr>
        <p:grpSpPr>
          <a:xfrm>
            <a:off x="3372405" y="3361716"/>
            <a:ext cx="288496" cy="352957"/>
            <a:chOff x="0" y="0"/>
            <a:chExt cx="288495" cy="352954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0" y="0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87146" y="87146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267012" y="4575476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4770691" y="4501201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4779176" y="4524849"/>
            <a:ext cx="390201" cy="2269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270238" y="2509358"/>
            <a:ext cx="795894" cy="48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pic>
        <p:nvPicPr>
          <p:cNvPr id="157" name="excel2.png" descr="excel2.png">
            <a:extLst>
              <a:ext uri="{FF2B5EF4-FFF2-40B4-BE49-F238E27FC236}">
                <a16:creationId xmlns:a16="http://schemas.microsoft.com/office/drawing/2014/main" id="{1CBF0D85-39A0-434B-BED6-2CAF347B029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1082"/>
          </a:blip>
          <a:stretch>
            <a:fillRect/>
          </a:stretch>
        </p:blipFill>
        <p:spPr>
          <a:xfrm>
            <a:off x="3351965" y="2875287"/>
            <a:ext cx="329375" cy="329374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4948515" y="5715176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sz="1000" dirty="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203768" y="5914993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280713" y="6130993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web data</a:t>
            </a:r>
            <a:endParaRPr lang="en-US" sz="1000" dirty="0"/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208577" y="631677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1975158" y="5665238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180811" y="6037551"/>
            <a:ext cx="1640345" cy="313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390995" y="2997931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255770" y="2853129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1878305" y="2897840"/>
            <a:ext cx="121797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spreadsheets</a:t>
            </a:r>
          </a:p>
        </p:txBody>
      </p:sp>
      <p:pic>
        <p:nvPicPr>
          <p:cNvPr id="192" name="excel2.png" descr="excel2.png">
            <a:extLst>
              <a:ext uri="{FF2B5EF4-FFF2-40B4-BE49-F238E27FC236}">
                <a16:creationId xmlns:a16="http://schemas.microsoft.com/office/drawing/2014/main" id="{8E47EEA0-0A91-D64B-AC96-84590B72AF3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7483957" y="3057968"/>
            <a:ext cx="442056" cy="44205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to add style to the Excel fi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A96E3DA-BF2F-493C-96A8-3922C28E5E6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1989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4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.S. Presidents from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124736"/>
            <a:ext cx="3853842" cy="31682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4000" y="1485000"/>
            <a:ext cx="5688000" cy="202463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2CAAC07-0D4C-474C-91D9-CBB8C9AF51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4000" y="3962438"/>
            <a:ext cx="5688000" cy="34676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E031BE2-414B-44CE-B04E-280C30B2969B}"/>
              </a:ext>
            </a:extLst>
          </p:cNvPr>
          <p:cNvSpPr/>
          <p:nvPr/>
        </p:nvSpPr>
        <p:spPr>
          <a:xfrm>
            <a:off x="5999362" y="3717000"/>
            <a:ext cx="3048638" cy="17977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5" name="Group 23">
            <a:extLst>
              <a:ext uri="{FF2B5EF4-FFF2-40B4-BE49-F238E27FC236}">
                <a16:creationId xmlns:a16="http://schemas.microsoft.com/office/drawing/2014/main" id="{1F1AF0A7-EA8D-4942-B0EA-047321BB97E0}"/>
              </a:ext>
            </a:extLst>
          </p:cNvPr>
          <p:cNvGrpSpPr/>
          <p:nvPr/>
        </p:nvGrpSpPr>
        <p:grpSpPr>
          <a:xfrm>
            <a:off x="4152000" y="2349000"/>
            <a:ext cx="1974449" cy="1202399"/>
            <a:chOff x="4625551" y="2005520"/>
            <a:chExt cx="1974449" cy="1202399"/>
          </a:xfrm>
        </p:grpSpPr>
        <p:grpSp>
          <p:nvGrpSpPr>
            <p:cNvPr id="16" name="Gruppieren 8">
              <a:extLst>
                <a:ext uri="{FF2B5EF4-FFF2-40B4-BE49-F238E27FC236}">
                  <a16:creationId xmlns:a16="http://schemas.microsoft.com/office/drawing/2014/main" id="{60A85A6B-8F9A-4742-B7CE-87B520F851E5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3" name="B4P">
                <a:extLst>
                  <a:ext uri="{FF2B5EF4-FFF2-40B4-BE49-F238E27FC236}">
                    <a16:creationId xmlns:a16="http://schemas.microsoft.com/office/drawing/2014/main" id="{BE3B6DB1-4378-427E-873B-7D12B1B40A38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4" name="Triangle">
                <a:extLst>
                  <a:ext uri="{FF2B5EF4-FFF2-40B4-BE49-F238E27FC236}">
                    <a16:creationId xmlns:a16="http://schemas.microsoft.com/office/drawing/2014/main" id="{C4558518-6738-4D7F-8ADC-B44901DA3E91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7" name="Gruppieren 20">
              <a:extLst>
                <a:ext uri="{FF2B5EF4-FFF2-40B4-BE49-F238E27FC236}">
                  <a16:creationId xmlns:a16="http://schemas.microsoft.com/office/drawing/2014/main" id="{D8FA10F9-EC04-4FAA-A485-A4D04862ECB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0" name="Rechteck: abgerundete Ecken 14">
                <a:extLst>
                  <a:ext uri="{FF2B5EF4-FFF2-40B4-BE49-F238E27FC236}">
                    <a16:creationId xmlns:a16="http://schemas.microsoft.com/office/drawing/2014/main" id="{EEBE0EBE-2186-445E-B903-D5C52FE04B1F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B4P">
                <a:extLst>
                  <a:ext uri="{FF2B5EF4-FFF2-40B4-BE49-F238E27FC236}">
                    <a16:creationId xmlns:a16="http://schemas.microsoft.com/office/drawing/2014/main" id="{7CC6FBEC-2667-47B8-9B65-0D84041DB77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2" name="Triangle">
                <a:extLst>
                  <a:ext uri="{FF2B5EF4-FFF2-40B4-BE49-F238E27FC236}">
                    <a16:creationId xmlns:a16="http://schemas.microsoft.com/office/drawing/2014/main" id="{D4182CC0-8043-4AEB-A888-66F49DAF7832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8" name="Right Arrow 26">
              <a:extLst>
                <a:ext uri="{FF2B5EF4-FFF2-40B4-BE49-F238E27FC236}">
                  <a16:creationId xmlns:a16="http://schemas.microsoft.com/office/drawing/2014/main" id="{E7B5A01D-BE18-41D6-9F84-82B1519D069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ight Arrow 27">
              <a:extLst>
                <a:ext uri="{FF2B5EF4-FFF2-40B4-BE49-F238E27FC236}">
                  <a16:creationId xmlns:a16="http://schemas.microsoft.com/office/drawing/2014/main" id="{C4AB0D64-C0AD-49F4-BEAD-7300D9BCC0BD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480000" y="4581000"/>
            <a:ext cx="11232000" cy="1656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: </a:t>
            </a:r>
            <a:r>
              <a:rPr lang="de-CH" sz="1400" dirty="0">
                <a:hlinkClick r:id="rId5"/>
              </a:rPr>
              <a:t>https://en.wikipedia.org/wiki/List_of_presidents_of_the_United_States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enerate a nice table with </a:t>
            </a:r>
            <a:r>
              <a:rPr lang="en-US" sz="1400" b="1" dirty="0">
                <a:solidFill>
                  <a:schemeClr val="tx1"/>
                </a:solidFill>
              </a:rPr>
              <a:t>parties colored differently</a:t>
            </a: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6 Statements, 0 Loops and 0 Variables to Straighten up the Presid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125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2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521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184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198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256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270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2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3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450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465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373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56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069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ock Data (SP 500 and NASDAQ 100) Combined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347" y="1125000"/>
            <a:ext cx="4715559" cy="27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087" y="1125000"/>
            <a:ext cx="4923917" cy="2547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D7A6C81-D033-4C1E-85E6-C9A42E7E0F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8087" y="3933032"/>
            <a:ext cx="4923913" cy="3928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D6D4DA5-4A7B-4732-9FEF-8879EE64B7B8}"/>
              </a:ext>
            </a:extLst>
          </p:cNvPr>
          <p:cNvSpPr/>
          <p:nvPr/>
        </p:nvSpPr>
        <p:spPr>
          <a:xfrm>
            <a:off x="6860095" y="3573000"/>
            <a:ext cx="2346495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6" name="Group 23">
            <a:extLst>
              <a:ext uri="{FF2B5EF4-FFF2-40B4-BE49-F238E27FC236}">
                <a16:creationId xmlns:a16="http://schemas.microsoft.com/office/drawing/2014/main" id="{A0E94558-0395-497B-8191-BBE7AD8A7036}"/>
              </a:ext>
            </a:extLst>
          </p:cNvPr>
          <p:cNvGrpSpPr/>
          <p:nvPr/>
        </p:nvGrpSpPr>
        <p:grpSpPr>
          <a:xfrm>
            <a:off x="5016000" y="2349000"/>
            <a:ext cx="1974449" cy="1202399"/>
            <a:chOff x="4625551" y="2005520"/>
            <a:chExt cx="1974449" cy="1202399"/>
          </a:xfrm>
        </p:grpSpPr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id="{A5255EB2-F610-4EB2-AFD7-BEAC88A8DE9F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4" name="B4P">
                <a:extLst>
                  <a:ext uri="{FF2B5EF4-FFF2-40B4-BE49-F238E27FC236}">
                    <a16:creationId xmlns:a16="http://schemas.microsoft.com/office/drawing/2014/main" id="{1E1246D7-E7A9-4DD4-809E-EDB323AC6A8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5" name="Triangle">
                <a:extLst>
                  <a:ext uri="{FF2B5EF4-FFF2-40B4-BE49-F238E27FC236}">
                    <a16:creationId xmlns:a16="http://schemas.microsoft.com/office/drawing/2014/main" id="{319B85EC-4E71-4A3C-B280-E0822D0875E4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8" name="Gruppieren 20">
              <a:extLst>
                <a:ext uri="{FF2B5EF4-FFF2-40B4-BE49-F238E27FC236}">
                  <a16:creationId xmlns:a16="http://schemas.microsoft.com/office/drawing/2014/main" id="{794BF75D-169A-4979-9582-0A9D184935C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1" name="Rechteck: abgerundete Ecken 14">
                <a:extLst>
                  <a:ext uri="{FF2B5EF4-FFF2-40B4-BE49-F238E27FC236}">
                    <a16:creationId xmlns:a16="http://schemas.microsoft.com/office/drawing/2014/main" id="{60BD8972-3B69-40F4-892A-BDCC59145738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B4P">
                <a:extLst>
                  <a:ext uri="{FF2B5EF4-FFF2-40B4-BE49-F238E27FC236}">
                    <a16:creationId xmlns:a16="http://schemas.microsoft.com/office/drawing/2014/main" id="{9F5C0BBC-EE81-4948-8B69-94DC5BA4536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3" name="Triangle">
                <a:extLst>
                  <a:ext uri="{FF2B5EF4-FFF2-40B4-BE49-F238E27FC236}">
                    <a16:creationId xmlns:a16="http://schemas.microsoft.com/office/drawing/2014/main" id="{008E8340-2D22-46F2-B2F6-C7D82753D807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9" name="Right Arrow 26">
              <a:extLst>
                <a:ext uri="{FF2B5EF4-FFF2-40B4-BE49-F238E27FC236}">
                  <a16:creationId xmlns:a16="http://schemas.microsoft.com/office/drawing/2014/main" id="{BA8A6527-1C76-4ADB-BA1E-E2348F80260F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ight Arrow 27">
              <a:extLst>
                <a:ext uri="{FF2B5EF4-FFF2-40B4-BE49-F238E27FC236}">
                  <a16:creationId xmlns:a16="http://schemas.microsoft.com/office/drawing/2014/main" id="{3ACF9083-0313-49E3-B800-34251582E88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480000" y="4725000"/>
            <a:ext cx="11232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1: </a:t>
            </a:r>
            <a:r>
              <a:rPr lang="de-CH" sz="1400" dirty="0">
                <a:hlinkClick r:id="rId5"/>
              </a:rPr>
              <a:t>https://www.slickcharts.com/nasdaq100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2: </a:t>
            </a:r>
            <a:r>
              <a:rPr lang="de-CH" sz="1400" dirty="0">
                <a:hlinkClick r:id="rId6"/>
              </a:rPr>
              <a:t>https://www.slickcharts.com/sp500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3 Statements, 1 loop and 1 variable do the Job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436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additional statements for style and colo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1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43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551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301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0770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845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>
                <a:solidFill>
                  <a:srgbClr val="2850A0"/>
                </a:solidFill>
              </a:rPr>
              <a:t>B4P</a:t>
            </a:r>
            <a:r>
              <a:rPr lang="en-AE" dirty="0">
                <a:solidFill>
                  <a:srgbClr val="2850A0"/>
                </a:solidFill>
              </a:rPr>
              <a:t>: Beyond Former Performance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CD0E21-040D-405E-95FE-47F71277579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en-A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8D655C-865C-4D22-883E-439A0186DCE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0166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263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sing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164615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02FF7FE-1E71-4643-BD24-E3D93C1C4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4000" y="2133000"/>
            <a:ext cx="7992000" cy="3240000"/>
          </a:xfrm>
        </p:spPr>
        <p:txBody>
          <a:bodyPr/>
          <a:lstStyle/>
          <a:p>
            <a:pPr algn="ctr"/>
            <a:r>
              <a:rPr lang="en-US" sz="6000" dirty="0"/>
              <a:t>DEPRECATED ARCHIVE</a:t>
            </a:r>
          </a:p>
        </p:txBody>
      </p:sp>
    </p:spTree>
    <p:extLst>
      <p:ext uri="{BB962C8B-B14F-4D97-AF65-F5344CB8AC3E}">
        <p14:creationId xmlns:p14="http://schemas.microsoft.com/office/powerpoint/2010/main" val="16077881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feil: Fünfeck 64">
            <a:extLst>
              <a:ext uri="{FF2B5EF4-FFF2-40B4-BE49-F238E27FC236}">
                <a16:creationId xmlns:a16="http://schemas.microsoft.com/office/drawing/2014/main" id="{7677690F-2825-438D-99CD-CE271A13779E}"/>
              </a:ext>
            </a:extLst>
          </p:cNvPr>
          <p:cNvSpPr/>
          <p:nvPr/>
        </p:nvSpPr>
        <p:spPr>
          <a:xfrm flipH="1">
            <a:off x="667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" name="Pfeil: Fünfeck 3">
            <a:extLst>
              <a:ext uri="{FF2B5EF4-FFF2-40B4-BE49-F238E27FC236}">
                <a16:creationId xmlns:a16="http://schemas.microsoft.com/office/drawing/2014/main" id="{1FFD1BFE-0814-4E73-A3C8-9076B49F2A2F}"/>
              </a:ext>
            </a:extLst>
          </p:cNvPr>
          <p:cNvSpPr/>
          <p:nvPr/>
        </p:nvSpPr>
        <p:spPr>
          <a:xfrm>
            <a:off x="163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Analytics and Execution Engine: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4315514" y="2358067"/>
            <a:ext cx="3368857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992000" y="2905683"/>
            <a:ext cx="924383" cy="3073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992000" y="2197149"/>
            <a:ext cx="84341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992000" y="3633842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Web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6175123" y="4551511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476775" y="4551511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584000" y="1341000"/>
            <a:ext cx="288000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dirty="0" err="1"/>
              <a:t>B4P</a:t>
            </a:r>
            <a:r>
              <a:rPr lang="en-US" dirty="0"/>
              <a:t> Data Integration and</a:t>
            </a:r>
            <a:br>
              <a:rPr lang="en-US" dirty="0"/>
            </a:br>
            <a:r>
              <a:rPr lang="en-US" dirty="0"/>
              <a:t>Analytics Engine</a:t>
            </a:r>
          </a:p>
        </p:txBody>
      </p: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3342336" y="2897635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3252185" y="21330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3328385" y="21838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417285" y="2234601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872647" y="4138587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3283764" y="3554639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632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noAutofit/>
          </a:bodyPr>
          <a:lstStyle/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ple Complex</a:t>
            </a:r>
          </a:p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5062972" y="3734823"/>
            <a:ext cx="2561" cy="31621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6631289" y="3752203"/>
            <a:ext cx="2561" cy="28886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536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noAutofit/>
          </a:bodyPr>
          <a:lstStyle/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rehensive Analysis</a:t>
            </a:r>
          </a:p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ed  in Seconds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470425" y="4095274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536133" y="4135763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0" name="Rectangle">
            <a:extLst>
              <a:ext uri="{FF2B5EF4-FFF2-40B4-BE49-F238E27FC236}">
                <a16:creationId xmlns:a16="http://schemas.microsoft.com/office/drawing/2014/main" id="{1394C765-3455-455E-9D27-24C75743AE74}"/>
              </a:ext>
            </a:extLst>
          </p:cNvPr>
          <p:cNvSpPr/>
          <p:nvPr/>
        </p:nvSpPr>
        <p:spPr>
          <a:xfrm>
            <a:off x="6594562" y="4186563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574083" y="4248659"/>
            <a:ext cx="316752" cy="230832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9639642" y="2844914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9626942" y="3589505"/>
            <a:ext cx="416598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catter Graph">
            <a:extLst>
              <a:ext uri="{FF2B5EF4-FFF2-40B4-BE49-F238E27FC236}">
                <a16:creationId xmlns:a16="http://schemas.microsoft.com/office/drawing/2014/main" id="{F6AF3C31-C4EF-43BB-A08C-786119A73AD4}"/>
              </a:ext>
            </a:extLst>
          </p:cNvPr>
          <p:cNvSpPr/>
          <p:nvPr/>
        </p:nvSpPr>
        <p:spPr>
          <a:xfrm>
            <a:off x="9649546" y="2133000"/>
            <a:ext cx="347642" cy="346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6"/>
                </a:lnTo>
                <a:cubicBezTo>
                  <a:pt x="0" y="21513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3"/>
                  <a:pt x="21600" y="21406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41"/>
                  <a:pt x="970" y="20434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4855" y="4365"/>
                </a:moveTo>
                <a:cubicBezTo>
                  <a:pt x="14545" y="4365"/>
                  <a:pt x="14235" y="4483"/>
                  <a:pt x="13998" y="4721"/>
                </a:cubicBezTo>
                <a:cubicBezTo>
                  <a:pt x="13525" y="5195"/>
                  <a:pt x="13525" y="5964"/>
                  <a:pt x="13998" y="6439"/>
                </a:cubicBezTo>
                <a:cubicBezTo>
                  <a:pt x="14472" y="6913"/>
                  <a:pt x="15239" y="6913"/>
                  <a:pt x="15712" y="6439"/>
                </a:cubicBezTo>
                <a:cubicBezTo>
                  <a:pt x="16185" y="5964"/>
                  <a:pt x="16185" y="5195"/>
                  <a:pt x="15712" y="4721"/>
                </a:cubicBezTo>
                <a:cubicBezTo>
                  <a:pt x="15475" y="4483"/>
                  <a:pt x="15165" y="4365"/>
                  <a:pt x="14855" y="4365"/>
                </a:cubicBezTo>
                <a:close/>
                <a:moveTo>
                  <a:pt x="4336" y="6020"/>
                </a:moveTo>
                <a:cubicBezTo>
                  <a:pt x="4026" y="6020"/>
                  <a:pt x="3716" y="6139"/>
                  <a:pt x="3479" y="6376"/>
                </a:cubicBezTo>
                <a:cubicBezTo>
                  <a:pt x="3006" y="6851"/>
                  <a:pt x="3006" y="7620"/>
                  <a:pt x="3479" y="8095"/>
                </a:cubicBezTo>
                <a:cubicBezTo>
                  <a:pt x="3953" y="8569"/>
                  <a:pt x="4720" y="8569"/>
                  <a:pt x="5193" y="8095"/>
                </a:cubicBezTo>
                <a:cubicBezTo>
                  <a:pt x="5666" y="7620"/>
                  <a:pt x="5666" y="6851"/>
                  <a:pt x="5193" y="6376"/>
                </a:cubicBezTo>
                <a:cubicBezTo>
                  <a:pt x="4956" y="6139"/>
                  <a:pt x="4646" y="6020"/>
                  <a:pt x="4336" y="6020"/>
                </a:cubicBezTo>
                <a:close/>
                <a:moveTo>
                  <a:pt x="9154" y="9823"/>
                </a:moveTo>
                <a:cubicBezTo>
                  <a:pt x="8844" y="9823"/>
                  <a:pt x="8534" y="9942"/>
                  <a:pt x="8297" y="10179"/>
                </a:cubicBezTo>
                <a:cubicBezTo>
                  <a:pt x="7824" y="10653"/>
                  <a:pt x="7824" y="11422"/>
                  <a:pt x="8297" y="11897"/>
                </a:cubicBezTo>
                <a:cubicBezTo>
                  <a:pt x="8770" y="12372"/>
                  <a:pt x="9537" y="12372"/>
                  <a:pt x="10011" y="11897"/>
                </a:cubicBezTo>
                <a:cubicBezTo>
                  <a:pt x="10484" y="11422"/>
                  <a:pt x="10484" y="10653"/>
                  <a:pt x="10011" y="10179"/>
                </a:cubicBezTo>
                <a:cubicBezTo>
                  <a:pt x="9774" y="9942"/>
                  <a:pt x="9464" y="9823"/>
                  <a:pt x="9154" y="9823"/>
                </a:cubicBezTo>
                <a:close/>
                <a:moveTo>
                  <a:pt x="16522" y="12697"/>
                </a:moveTo>
                <a:cubicBezTo>
                  <a:pt x="16211" y="12697"/>
                  <a:pt x="15901" y="12816"/>
                  <a:pt x="15665" y="13053"/>
                </a:cubicBezTo>
                <a:cubicBezTo>
                  <a:pt x="15191" y="13528"/>
                  <a:pt x="15191" y="14297"/>
                  <a:pt x="15665" y="14771"/>
                </a:cubicBezTo>
                <a:cubicBezTo>
                  <a:pt x="16138" y="15246"/>
                  <a:pt x="16905" y="15246"/>
                  <a:pt x="17378" y="14771"/>
                </a:cubicBezTo>
                <a:cubicBezTo>
                  <a:pt x="17852" y="14297"/>
                  <a:pt x="17852" y="13528"/>
                  <a:pt x="17378" y="13053"/>
                </a:cubicBezTo>
                <a:cubicBezTo>
                  <a:pt x="17142" y="12816"/>
                  <a:pt x="16832" y="12697"/>
                  <a:pt x="16522" y="12697"/>
                </a:cubicBezTo>
                <a:close/>
                <a:moveTo>
                  <a:pt x="6257" y="15838"/>
                </a:moveTo>
                <a:cubicBezTo>
                  <a:pt x="5947" y="15838"/>
                  <a:pt x="5637" y="15957"/>
                  <a:pt x="5400" y="16194"/>
                </a:cubicBezTo>
                <a:cubicBezTo>
                  <a:pt x="4927" y="16669"/>
                  <a:pt x="4927" y="17438"/>
                  <a:pt x="5400" y="17912"/>
                </a:cubicBezTo>
                <a:cubicBezTo>
                  <a:pt x="5873" y="18387"/>
                  <a:pt x="6640" y="18387"/>
                  <a:pt x="7114" y="17912"/>
                </a:cubicBezTo>
                <a:cubicBezTo>
                  <a:pt x="7587" y="17438"/>
                  <a:pt x="7587" y="16669"/>
                  <a:pt x="7114" y="16194"/>
                </a:cubicBezTo>
                <a:cubicBezTo>
                  <a:pt x="6877" y="15957"/>
                  <a:pt x="6567" y="15838"/>
                  <a:pt x="6257" y="15838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8195647" y="2205000"/>
            <a:ext cx="136473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8192378" y="292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b browsers</a:t>
            </a:r>
          </a:p>
        </p:txBody>
      </p: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7EBD0412-F6B8-4523-AC3C-1B679D040F08}"/>
              </a:ext>
            </a:extLst>
          </p:cNvPr>
          <p:cNvSpPr/>
          <p:nvPr/>
        </p:nvSpPr>
        <p:spPr>
          <a:xfrm>
            <a:off x="4005771" y="2766528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Pfeil: nach rechts 47">
            <a:extLst>
              <a:ext uri="{FF2B5EF4-FFF2-40B4-BE49-F238E27FC236}">
                <a16:creationId xmlns:a16="http://schemas.microsoft.com/office/drawing/2014/main" id="{11E1C9DF-B689-8741-9F99-18AE3C7A0D38}"/>
              </a:ext>
            </a:extLst>
          </p:cNvPr>
          <p:cNvSpPr/>
          <p:nvPr/>
        </p:nvSpPr>
        <p:spPr>
          <a:xfrm>
            <a:off x="7328378" y="2757906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TextBox 37">
            <a:extLst>
              <a:ext uri="{FF2B5EF4-FFF2-40B4-BE49-F238E27FC236}">
                <a16:creationId xmlns:a16="http://schemas.microsoft.com/office/drawing/2014/main" id="{076D2205-CCF8-4BEC-9461-8F30A2BAE797}"/>
              </a:ext>
            </a:extLst>
          </p:cNvPr>
          <p:cNvSpPr txBox="1"/>
          <p:nvPr/>
        </p:nvSpPr>
        <p:spPr>
          <a:xfrm>
            <a:off x="8192378" y="364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outputs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00FA5A38-322D-4DBF-954E-771F03CD47BF}"/>
              </a:ext>
            </a:extLst>
          </p:cNvPr>
          <p:cNvCxnSpPr>
            <a:cxnSpLocks/>
          </p:cNvCxnSpPr>
          <p:nvPr/>
        </p:nvCxnSpPr>
        <p:spPr>
          <a:xfrm>
            <a:off x="1704000" y="5085000"/>
            <a:ext cx="842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riangle">
            <a:extLst>
              <a:ext uri="{FF2B5EF4-FFF2-40B4-BE49-F238E27FC236}">
                <a16:creationId xmlns:a16="http://schemas.microsoft.com/office/drawing/2014/main" id="{6165BFDE-21D5-4C83-8E11-E52757C45210}"/>
              </a:ext>
            </a:extLst>
          </p:cNvPr>
          <p:cNvSpPr/>
          <p:nvPr/>
        </p:nvSpPr>
        <p:spPr>
          <a:xfrm rot="5400000">
            <a:off x="5743041" y="2989959"/>
            <a:ext cx="538348" cy="6964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1" name="B4P">
            <a:extLst>
              <a:ext uri="{FF2B5EF4-FFF2-40B4-BE49-F238E27FC236}">
                <a16:creationId xmlns:a16="http://schemas.microsoft.com/office/drawing/2014/main" id="{FA69CB53-BDD1-4819-B0E7-7CD4FBAB3746}"/>
              </a:ext>
            </a:extLst>
          </p:cNvPr>
          <p:cNvSpPr txBox="1"/>
          <p:nvPr/>
        </p:nvSpPr>
        <p:spPr>
          <a:xfrm>
            <a:off x="5346365" y="2421000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53" name="TextBox 37">
            <a:extLst>
              <a:ext uri="{FF2B5EF4-FFF2-40B4-BE49-F238E27FC236}">
                <a16:creationId xmlns:a16="http://schemas.microsoft.com/office/drawing/2014/main" id="{B734889D-B431-4E73-B9F6-917DC764AA95}"/>
              </a:ext>
            </a:extLst>
          </p:cNvPr>
          <p:cNvSpPr txBox="1"/>
          <p:nvPr/>
        </p:nvSpPr>
        <p:spPr>
          <a:xfrm>
            <a:off x="3216000" y="5229000"/>
            <a:ext cx="5760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Fil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cel (.xlsx, .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xlsm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, CSV/TSV, HTML/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HTML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XML, JSON, ZIP, text files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bas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ports (SAP,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ilemaker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Oracle, MS Access, Salesforce, etc.)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 data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Internet sources of structured data (web sites, web services)</a:t>
            </a:r>
          </a:p>
        </p:txBody>
      </p:sp>
      <p:sp>
        <p:nvSpPr>
          <p:cNvPr id="54" name="TextBox 37">
            <a:extLst>
              <a:ext uri="{FF2B5EF4-FFF2-40B4-BE49-F238E27FC236}">
                <a16:creationId xmlns:a16="http://schemas.microsoft.com/office/drawing/2014/main" id="{6228024A-8D76-4718-A047-B48653DF6B1F}"/>
              </a:ext>
            </a:extLst>
          </p:cNvPr>
          <p:cNvSpPr txBox="1"/>
          <p:nvPr/>
        </p:nvSpPr>
        <p:spPr>
          <a:xfrm>
            <a:off x="1704000" y="5229000"/>
            <a:ext cx="1296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97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methods do not address challenges of data manag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11232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ime-consuming task repeating regularly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484784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348880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149080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484784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4869000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28498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133000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260837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285000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340768"/>
            <a:ext cx="540004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1772892"/>
            <a:ext cx="863832" cy="3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133000"/>
            <a:ext cx="72000" cy="2158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1772892"/>
            <a:ext cx="612216" cy="487945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2564904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3609000"/>
            <a:ext cx="2808304" cy="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2564904"/>
            <a:ext cx="144016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421000"/>
            <a:ext cx="216000" cy="1439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401108"/>
            <a:ext cx="1512088" cy="37245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4521534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3933056"/>
            <a:ext cx="108004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3933000"/>
            <a:ext cx="1296104" cy="58853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3861000"/>
            <a:ext cx="2664296" cy="5401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4773562"/>
            <a:ext cx="1655792" cy="34746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4653136"/>
            <a:ext cx="215852" cy="2158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429000"/>
            <a:ext cx="1512281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2996952"/>
            <a:ext cx="1728184" cy="36004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373056"/>
            <a:ext cx="216000" cy="21594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068960"/>
            <a:ext cx="899792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2496000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2853000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520000" y="2277000"/>
            <a:ext cx="1728000" cy="360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takes Happe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149000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3933000"/>
            <a:ext cx="400200" cy="21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4653056"/>
            <a:ext cx="832200" cy="28794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Problem Statement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ossible Conventional Solutions: Probably not the Best Ide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depending on others, expensive, bothering others repeatedly for approval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others having difficulties understanding your work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 code and poor performance for tasks if they are not that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can become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will drop significantly when working with high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very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Right Approach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Work with Minimum Effor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11232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your automated tasks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Results in consistently high quality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8D4966C7-DC0E-4BE7-B01E-FA3FB0C59A1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776000" y="4931550"/>
            <a:ext cx="882341" cy="1161450"/>
          </a:xfrm>
          <a:prstGeom prst="rect">
            <a:avLst/>
          </a:prstGeom>
        </p:spPr>
      </p:pic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1989000"/>
            <a:ext cx="11448000" cy="2781807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45621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Gather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1885781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46437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505219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69621" y="236225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430397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309845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3325941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109797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206373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50077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90133" y="236225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66101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85829" y="2218255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845270" y="2362271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4562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1885781" y="2794255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332594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6610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20637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4642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8658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52685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403277" y="3955559"/>
            <a:ext cx="134072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95" name="Pfeil: nach rechts 94">
            <a:extLst>
              <a:ext uri="{FF2B5EF4-FFF2-40B4-BE49-F238E27FC236}">
                <a16:creationId xmlns:a16="http://schemas.microsoft.com/office/drawing/2014/main" id="{F50A8D7A-C001-42D8-9E26-4A23D9B472B0}"/>
              </a:ext>
            </a:extLst>
          </p:cNvPr>
          <p:cNvSpPr/>
          <p:nvPr/>
        </p:nvSpPr>
        <p:spPr>
          <a:xfrm rot="5400000">
            <a:off x="5639547" y="4605453"/>
            <a:ext cx="864000" cy="959094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39547" y="1221453"/>
            <a:ext cx="864000" cy="959094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744000" y="4869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76000" y="5085000"/>
            <a:ext cx="28575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done in second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406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 syntax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ensive library 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480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de-CH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</a:t>
            </a:r>
            <a:r>
              <a:rPr lang="en-US" sz="1400" b="1">
                <a:solidFill>
                  <a:schemeClr val="bg1"/>
                </a:solidFill>
              </a:rPr>
              <a:t>supported </a:t>
            </a:r>
            <a:r>
              <a:rPr lang="en-US" sz="1400" b="1" dirty="0">
                <a:solidFill>
                  <a:schemeClr val="bg1"/>
                </a:solidFill>
              </a:rPr>
              <a:t>easily using </a:t>
            </a:r>
            <a:r>
              <a:rPr lang="en-US" sz="1400" b="1">
                <a:solidFill>
                  <a:schemeClr val="bg1"/>
                </a:solidFill>
              </a:rPr>
              <a:t>a B4P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>
                <a:solidFill>
                  <a:schemeClr val="bg1"/>
                </a:solidFill>
              </a:rPr>
              <a:t>library extension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lussdiagramm: Zentralspeicher 10">
            <a:extLst>
              <a:ext uri="{FF2B5EF4-FFF2-40B4-BE49-F238E27FC236}">
                <a16:creationId xmlns:a16="http://schemas.microsoft.com/office/drawing/2014/main" id="{4D530EB4-9820-413C-8481-FB8BF1F415C5}"/>
              </a:ext>
            </a:extLst>
          </p:cNvPr>
          <p:cNvSpPr/>
          <p:nvPr/>
        </p:nvSpPr>
        <p:spPr>
          <a:xfrm>
            <a:off x="4872000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" name="Flussdiagramm: Zentralspeicher 11">
            <a:extLst>
              <a:ext uri="{FF2B5EF4-FFF2-40B4-BE49-F238E27FC236}">
                <a16:creationId xmlns:a16="http://schemas.microsoft.com/office/drawing/2014/main" id="{E1F651FA-25BD-4293-AE13-10551EF971F0}"/>
              </a:ext>
            </a:extLst>
          </p:cNvPr>
          <p:cNvSpPr/>
          <p:nvPr/>
        </p:nvSpPr>
        <p:spPr>
          <a:xfrm>
            <a:off x="10847976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35</TotalTime>
  <Words>6129</Words>
  <Application>Microsoft Macintosh PowerPoint</Application>
  <PresentationFormat>Widescreen</PresentationFormat>
  <Paragraphs>818</Paragraphs>
  <Slides>3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:  Integration and Analytics Engine Overview</vt:lpstr>
      <vt:lpstr>B4P: Table of Contents</vt:lpstr>
      <vt:lpstr>B4P: The Problem Statement Conventional methods do not address challenges of data management</vt:lpstr>
      <vt:lpstr>B4P: The Problem Statement Possible Conventional Solutions: Probably not the Best Idea</vt:lpstr>
      <vt:lpstr>B4P: The Right Approach Automate your Work with Minimum Efforts</vt:lpstr>
      <vt:lpstr>B4P Table of Contents</vt:lpstr>
      <vt:lpstr>B4P: The Analytics and Execution Engine Based on 14 Years of Experience Solving Problems</vt:lpstr>
      <vt:lpstr>B4P: The Analytics and Execution Engine Supported Data Formats</vt:lpstr>
      <vt:lpstr>B4P Table of Contents</vt:lpstr>
      <vt:lpstr>B4P Real-world Use Case #1 Information interchange between multiple different databases</vt:lpstr>
      <vt:lpstr>B4P Real-world Use Case #2 Heterogeneous data integration from branch offices worldwide</vt:lpstr>
      <vt:lpstr>B4P Real-world Use Case #3 Enriched Business Intelligence</vt:lpstr>
      <vt:lpstr>B4P Table of Contents</vt:lpstr>
      <vt:lpstr>B4P: The Language Key Benefits of a Low-Code Language Approach</vt:lpstr>
      <vt:lpstr>B4P: The Language Language Syntax and Semantics</vt:lpstr>
      <vt:lpstr>B4P Table of Contents</vt:lpstr>
      <vt:lpstr>B4P: Program Example 1 Merging 2 Tables: Problem Statement</vt:lpstr>
      <vt:lpstr>B4P Example: Low-code Solution 8 statements:  load, clean, align semantics, merge, and save</vt:lpstr>
      <vt:lpstr>B4P Example: Low-code Solution 7 additional statements to add style to the Excel file</vt:lpstr>
      <vt:lpstr>B4P: Program Example 2 U.S. Presidents from Wikipedia</vt:lpstr>
      <vt:lpstr>B4P: Program Example 2 16 Statements, 0 Loops and 0 Variables to Straighten up the Presidents</vt:lpstr>
      <vt:lpstr>B4P: Program Example 3 Stock Data (SP 500 and NASDAQ 100) Combined</vt:lpstr>
      <vt:lpstr>B4P: Program Example 3 13 Statements, 1 loop and 1 variable do the Job</vt:lpstr>
      <vt:lpstr>B4P: Program Example 3 8 additional statements for style and color</vt:lpstr>
      <vt:lpstr>B4P  Beyond Former Performance.</vt:lpstr>
      <vt:lpstr>B4P Table of Contents</vt:lpstr>
      <vt:lpstr>B4P: Beyond Former Performance New in Release 8.00</vt:lpstr>
      <vt:lpstr>B4P Use Case Automatic documentation generation for website www.b4p.app</vt:lpstr>
      <vt:lpstr>B4P Use Case Automatic Document Generation for www.b4p.app using B4P</vt:lpstr>
      <vt:lpstr>DEPRECATED ARCHIVE</vt:lpstr>
      <vt:lpstr>B4P The Analytics and Execution Engine: Overview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09</cp:revision>
  <cp:lastPrinted>2012-05-04T14:30:29Z</cp:lastPrinted>
  <dcterms:created xsi:type="dcterms:W3CDTF">2016-02-06T20:40:56Z</dcterms:created>
  <dcterms:modified xsi:type="dcterms:W3CDTF">2021-05-19T20:16:08Z</dcterms:modified>
</cp:coreProperties>
</file>